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6"/>
  </p:notesMasterIdLst>
  <p:sldIdLst>
    <p:sldId id="260" r:id="rId4"/>
    <p:sldId id="262" r:id="rId5"/>
    <p:sldId id="310" r:id="rId6"/>
    <p:sldId id="309" r:id="rId7"/>
    <p:sldId id="307" r:id="rId8"/>
    <p:sldId id="308" r:id="rId9"/>
    <p:sldId id="289" r:id="rId10"/>
    <p:sldId id="290" r:id="rId11"/>
    <p:sldId id="311" r:id="rId12"/>
    <p:sldId id="291" r:id="rId13"/>
    <p:sldId id="292" r:id="rId14"/>
    <p:sldId id="293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737"/>
    <a:srgbClr val="E60000"/>
    <a:srgbClr val="FA0000"/>
    <a:srgbClr val="CC99FF"/>
    <a:srgbClr val="FF5757"/>
    <a:srgbClr val="FF99FF"/>
    <a:srgbClr val="C00000"/>
    <a:srgbClr val="EDF58B"/>
    <a:srgbClr val="DBE6C4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dirty="0" smtClean="0">
            <a:solidFill>
              <a:schemeClr val="bg1"/>
            </a:solidFill>
          </a:endParaRPr>
        </a:p>
        <a:p>
          <a:pPr marL="0" marR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dirty="0" smtClean="0">
            <a:solidFill>
              <a:schemeClr val="bg1"/>
            </a:solidFill>
          </a:endParaRP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 custScaleY="8972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 custScaleY="98388" custLinFactNeighborX="776" custLinFactNeighborY="-15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ScaleY="114973" custLinFactNeighborY="12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67424A3-CCF6-470D-9FA7-DDE80172630D}" type="presOf" srcId="{4910AFE8-F8C6-4CA2-8717-10C0C4F9D54E}" destId="{7C3E26E5-8345-4B58-ADD7-8E425EA260AA}" srcOrd="0" destOrd="0" presId="urn:microsoft.com/office/officeart/2005/8/layout/pyramid1"/>
    <dgm:cxn modelId="{74AEA407-FE87-48BC-B200-6945C80EB935}" type="presOf" srcId="{2BCEAB64-79E1-4190-90C6-94A8105E1D4B}" destId="{EBBA0041-A843-441C-87AB-8F637576AE6A}" srcOrd="0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BA4E2409-1376-4C64-B119-058956F46B0D}" type="presOf" srcId="{3F883D72-AB51-44A3-BB69-C25E95E42149}" destId="{0705155B-A724-47C1-A128-C5DF09EE6B97}" srcOrd="1" destOrd="0" presId="urn:microsoft.com/office/officeart/2005/8/layout/pyramid1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4EDD80BC-0A39-4952-A85A-70FFC1B420B7}" type="presOf" srcId="{2BCEAB64-79E1-4190-90C6-94A8105E1D4B}" destId="{2B7C2DCE-4CF1-4FE5-90E9-E7B7B569F09C}" srcOrd="1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6505F5BC-0F76-464A-AEE4-DBF00F18D1B1}" type="presOf" srcId="{3F883D72-AB51-44A3-BB69-C25E95E42149}" destId="{CC9EFA65-A778-457A-93C6-B9548DB6D4C8}" srcOrd="0" destOrd="0" presId="urn:microsoft.com/office/officeart/2005/8/layout/pyramid1"/>
    <dgm:cxn modelId="{99208A73-1A29-4ABD-9070-D4CDD1FF1D9E}" type="presOf" srcId="{BE6152E8-A7B0-429C-AE48-E84F07208D3F}" destId="{41B0729E-585F-4A7E-A894-AA6DFF53CF58}" srcOrd="0" destOrd="0" presId="urn:microsoft.com/office/officeart/2005/8/layout/pyramid1"/>
    <dgm:cxn modelId="{2DDB7D9F-9FD3-4E23-887E-60A6917B7401}" type="presOf" srcId="{BE6152E8-A7B0-429C-AE48-E84F07208D3F}" destId="{AE7E8AE7-164D-44BD-BE40-BDE74B4818F7}" srcOrd="1" destOrd="0" presId="urn:microsoft.com/office/officeart/2005/8/layout/pyramid1"/>
    <dgm:cxn modelId="{38F249DB-6CC7-418F-9BAA-A3E9319CA003}" type="presParOf" srcId="{7C3E26E5-8345-4B58-ADD7-8E425EA260AA}" destId="{04E3F3C2-2FFE-4908-A86D-328E43B3294A}" srcOrd="0" destOrd="0" presId="urn:microsoft.com/office/officeart/2005/8/layout/pyramid1"/>
    <dgm:cxn modelId="{4E834C77-3AA0-40F6-A477-E57DCF23E1EA}" type="presParOf" srcId="{04E3F3C2-2FFE-4908-A86D-328E43B3294A}" destId="{41B0729E-585F-4A7E-A894-AA6DFF53CF58}" srcOrd="0" destOrd="0" presId="urn:microsoft.com/office/officeart/2005/8/layout/pyramid1"/>
    <dgm:cxn modelId="{345CB10E-9F8E-4624-A8E9-F31584BA2122}" type="presParOf" srcId="{04E3F3C2-2FFE-4908-A86D-328E43B3294A}" destId="{AE7E8AE7-164D-44BD-BE40-BDE74B4818F7}" srcOrd="1" destOrd="0" presId="urn:microsoft.com/office/officeart/2005/8/layout/pyramid1"/>
    <dgm:cxn modelId="{8C8CACC2-ECD2-41C9-BEAC-63D1D5BCA657}" type="presParOf" srcId="{7C3E26E5-8345-4B58-ADD7-8E425EA260AA}" destId="{189E913C-2543-4D0F-9CBF-BF9B2CF8E0DA}" srcOrd="1" destOrd="0" presId="urn:microsoft.com/office/officeart/2005/8/layout/pyramid1"/>
    <dgm:cxn modelId="{BA147920-5A2A-41AE-8372-A2940BB459D4}" type="presParOf" srcId="{189E913C-2543-4D0F-9CBF-BF9B2CF8E0DA}" destId="{EBBA0041-A843-441C-87AB-8F637576AE6A}" srcOrd="0" destOrd="0" presId="urn:microsoft.com/office/officeart/2005/8/layout/pyramid1"/>
    <dgm:cxn modelId="{7E53E406-7574-4DA6-97EC-011BD0531ADE}" type="presParOf" srcId="{189E913C-2543-4D0F-9CBF-BF9B2CF8E0DA}" destId="{2B7C2DCE-4CF1-4FE5-90E9-E7B7B569F09C}" srcOrd="1" destOrd="0" presId="urn:microsoft.com/office/officeart/2005/8/layout/pyramid1"/>
    <dgm:cxn modelId="{8E07D690-E5E0-4B29-8200-0663BD964545}" type="presParOf" srcId="{7C3E26E5-8345-4B58-ADD7-8E425EA260AA}" destId="{C7701B75-B313-4FD6-9404-F77707EEE284}" srcOrd="2" destOrd="0" presId="urn:microsoft.com/office/officeart/2005/8/layout/pyramid1"/>
    <dgm:cxn modelId="{ABAA173B-B499-4D51-940C-1FC3BF6E5945}" type="presParOf" srcId="{C7701B75-B313-4FD6-9404-F77707EEE284}" destId="{CC9EFA65-A778-457A-93C6-B9548DB6D4C8}" srcOrd="0" destOrd="0" presId="urn:microsoft.com/office/officeart/2005/8/layout/pyramid1"/>
    <dgm:cxn modelId="{5AB5757A-EEC6-4DC7-8219-E0874EE175AA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875538" y="0"/>
          <a:ext cx="1577515" cy="1394996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75538" y="0"/>
        <a:ext cx="1577515" cy="1394996"/>
      </dsp:txXfrm>
    </dsp:sp>
    <dsp:sp modelId="{EBBA0041-A843-441C-87AB-8F637576AE6A}">
      <dsp:nvSpPr>
        <dsp:cNvPr id="0" name=""/>
        <dsp:cNvSpPr/>
      </dsp:nvSpPr>
      <dsp:spPr>
        <a:xfrm>
          <a:off x="1036328" y="1392540"/>
          <a:ext cx="3307264" cy="1529616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15099" y="1392540"/>
        <a:ext cx="2149721" cy="1529616"/>
      </dsp:txXfrm>
    </dsp:sp>
    <dsp:sp modelId="{CC9EFA65-A778-457A-93C6-B9548DB6D4C8}">
      <dsp:nvSpPr>
        <dsp:cNvPr id="0" name=""/>
        <dsp:cNvSpPr/>
      </dsp:nvSpPr>
      <dsp:spPr>
        <a:xfrm>
          <a:off x="0" y="2924612"/>
          <a:ext cx="5328591" cy="1787459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kern="1200" dirty="0" smtClean="0">
            <a:solidFill>
              <a:schemeClr val="bg1"/>
            </a:solidFill>
          </a:endParaRPr>
        </a:p>
        <a:p>
          <a:pPr marL="0" marR="0" lvl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kern="1200" dirty="0" smtClean="0">
            <a:solidFill>
              <a:schemeClr val="bg1"/>
            </a:solidFill>
          </a:endParaRPr>
        </a:p>
        <a:p>
          <a:pPr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32503" y="2924612"/>
        <a:ext cx="3463584" cy="17874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11143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16947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66834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942054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024008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908208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75694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562128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162023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75620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299593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748213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25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25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5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724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png"/><Relationship Id="rId5" Type="http://schemas.openxmlformats.org/officeDocument/2006/relationships/image" Target="../media/image16.emf"/><Relationship Id="rId10" Type="http://schemas.openxmlformats.org/officeDocument/2006/relationships/image" Target="../media/image31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423316" y="116633"/>
            <a:ext cx="8648700" cy="1093426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самостоятельной деятельности старших дошкольников в групповых центрах </a:t>
            </a: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ости путем</a:t>
            </a:r>
            <a:r>
              <a:rPr lang="ru-RU" sz="155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я доски задач в ходе реализации технологии «План-дело-анализ»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852359"/>
            <a:ext cx="8636000" cy="151274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79367" y="1076367"/>
            <a:ext cx="1956386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26980" y="4531445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endParaRPr lang="ru-RU" sz="1200" dirty="0">
              <a:latin typeface="Times New Roman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Повысить качество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самостоятельной деятельности детей посредством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использования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доск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задач  не менее чем на 20%                                            к концу мая 2020 года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2942590"/>
            <a:ext cx="2799482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36538" y="4470400"/>
            <a:ext cx="138818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235752" y="1165876"/>
            <a:ext cx="5288575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Терновк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т создания педагогом ситуации для выдвижения идей на детском совете  до анализа самостоятельной деятельности детей на итоговом сборе.</a:t>
            </a:r>
            <a:endParaRPr lang="ru-RU" sz="11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04.03.2020 г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6.05.2020 г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60350" y="3213970"/>
            <a:ext cx="8498682" cy="1065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Times New Roman"/>
                <a:cs typeface="Arial"/>
              </a:rPr>
              <a:t>Дети испытывают затруднения  в определении темы дня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Times New Roman"/>
                <a:cs typeface="Arial"/>
              </a:rPr>
              <a:t>Излишнее в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мешательство педагога в самостоятельную работу детей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Дети не умеют самостоятельно планировать свою деятельность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Недостаточно сформированы навыки самоопределения у  детей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У детей недостаточно сформировано 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Times New Roman"/>
                <a:cs typeface="Times New Roman"/>
              </a:rPr>
              <a:t> понимание ответственности за свой выбор, действия и результаты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Times New Roman"/>
                <a:cs typeface="Times New Roman"/>
              </a:rPr>
              <a:t>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47650" y="5373216"/>
            <a:ext cx="8621713" cy="13155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84885" y="5514156"/>
            <a:ext cx="174534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857751"/>
            <a:ext cx="86128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1.Повышена 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роль детей в планировании самостоятельной деятельности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2. Сформирована ответственность  за свой выбор, действия и результат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3.Дети имеют возможность в любой момент включаться в самостоятельную деятельность  в центрах активности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</a:rPr>
              <a:t>4. Развиты </a:t>
            </a:r>
            <a:r>
              <a:rPr lang="ru-RU" sz="1100" dirty="0" err="1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</a:rPr>
              <a:t>общеучебные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</a:rPr>
              <a:t> навыки, познавательные интересы и потребности  детей. </a:t>
            </a:r>
            <a:endParaRPr lang="ru-RU" sz="11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r>
              <a:rPr lang="ru-RU" sz="1400" dirty="0" smtClean="0"/>
              <a:t>1</a:t>
            </a:r>
            <a:endParaRPr lang="ru-RU" sz="14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210059"/>
            <a:ext cx="1232097" cy="1282837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73652"/>
            <a:ext cx="918947" cy="126188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85775" y="393051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4475" y="1210195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8702" y="1694259"/>
            <a:ext cx="152537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популярные центры активности дооснащены разнообразными материалами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02719" y="15396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220072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2123728" y="4237563"/>
            <a:ext cx="161880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436096" y="4237563"/>
            <a:ext cx="96550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2538073" y="4465399"/>
            <a:ext cx="174860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сформированность у детей  умений фиксировать результаты своей деятельности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5078702" y="4437112"/>
            <a:ext cx="201622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детьми доски задач для развития умения фиксировать результаты своей деятельности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542835" y="1816716"/>
            <a:ext cx="185026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все центры активности востребованы дошкольниками в равной степени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63" name="Picture 7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095" y="1989623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64" name="Picture 7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752" y="4820830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52" name="Picture 16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99" y="1726760"/>
            <a:ext cx="1335690" cy="1774248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54" name="Picture 16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647" y="4237563"/>
            <a:ext cx="1457325" cy="1944687"/>
          </a:xfrm>
          <a:prstGeom prst="rect">
            <a:avLst/>
          </a:prstGeom>
          <a:noFill/>
          <a:ln w="1270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57" name="Picture 16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921" y="4237563"/>
            <a:ext cx="1394046" cy="1855733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Рисунок 20" descr="C:\Users\elena\Downloads\IMG-cd38760fa0a11656c252d2896bf8993e-V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74" y="1694259"/>
            <a:ext cx="2000374" cy="1518717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rgbClr val="FF99FF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3" y="1522413"/>
            <a:ext cx="2200274" cy="803275"/>
          </a:xfrm>
          <a:prstGeom prst="rect">
            <a:avLst/>
          </a:prstGeom>
          <a:solidFill>
            <a:srgbClr val="FF99FF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технологии «План-дело-анализ»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арт 2020 г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85725" y="2564904"/>
            <a:ext cx="2208212" cy="722809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овет 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ренний сбор), работа с 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моделью трёх вопросов»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22675" y="3475437"/>
            <a:ext cx="755650" cy="577726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3663" y="3429001"/>
            <a:ext cx="2200274" cy="683418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рование действий, выбор места работы и партнеров, мин 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93937" y="3764300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15300" y="1411809"/>
            <a:ext cx="936625" cy="936625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9</a:t>
            </a:r>
            <a:endParaRPr lang="ru-RU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технологии 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лан-дело-анализ»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ай 2020 г.)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95838" y="2564904"/>
            <a:ext cx="2216150" cy="722809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т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ренний сбор), работа с </a:t>
            </a:r>
          </a:p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моделью трёх вопросов», мин</a:t>
            </a: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175625" y="3467820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795838" y="3429002"/>
            <a:ext cx="2216150" cy="683418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рование действий, выбор места работы и партнеров, мин 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950" y="3770711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14300" y="4291013"/>
            <a:ext cx="2179638" cy="650155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ая деятельность в центрах активности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93938" y="4581128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93938" y="530120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649291" y="5085183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Блок-схема: узел 60"/>
          <p:cNvSpPr/>
          <p:nvPr/>
        </p:nvSpPr>
        <p:spPr>
          <a:xfrm>
            <a:off x="3622675" y="4280295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795838" y="4291012"/>
            <a:ext cx="2216150" cy="590945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ая деятельность в центрах активности, мин</a:t>
            </a: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4795838" y="5085181"/>
            <a:ext cx="2216150" cy="610767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самостоятельной деятельности детей на итоговом сборе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104063" y="4571602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7126288" y="5301607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Блок-схема: узел 78"/>
          <p:cNvSpPr/>
          <p:nvPr/>
        </p:nvSpPr>
        <p:spPr>
          <a:xfrm>
            <a:off x="8175625" y="4994349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Блок-схема: узел 79"/>
          <p:cNvSpPr/>
          <p:nvPr/>
        </p:nvSpPr>
        <p:spPr>
          <a:xfrm>
            <a:off x="8137525" y="4232907"/>
            <a:ext cx="793750" cy="61165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158748" y="5093568"/>
            <a:ext cx="2135190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самостоятельной деятельности детей на итоговом сборе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6319" y="6370134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8024" y="1507030"/>
            <a:ext cx="3871173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: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solidFill>
                <a:srgbClr val="FF0000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роли детей в планировании самостоятельной деятельности за счёт использования доски задач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E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ормированность у детей ответственности за свой выбор, действия и результат в ходе реализации технологии «План-дело-анализ»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 smtClean="0">
              <a:solidFill>
                <a:srgbClr val="F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8897" y="1855922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6521128" y="3140968"/>
            <a:ext cx="365135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129614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5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2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6319" y="6370134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12</a:t>
            </a:fld>
            <a:endParaRPr lang="ru-RU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15913" y="3584673"/>
            <a:ext cx="8621712" cy="265263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15913" y="872251"/>
            <a:ext cx="8597230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497412" y="875635"/>
            <a:ext cx="213773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9292" y="3694588"/>
            <a:ext cx="2179674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459237" y="2524144"/>
            <a:ext cx="120645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няева </a:t>
            </a:r>
            <a:r>
              <a:rPr lang="ru-RU" altLang="ru-RU" sz="10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алья Евгенье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485951" y="2455960"/>
            <a:ext cx="1427187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кина Елена Владими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467544" y="5579368"/>
            <a:ext cx="1224136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ведева Татьяна Николаевна, воспитатель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6122761" y="5579367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инкова Елена Алексее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ь-логопед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459237" y="5632748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нькова</a:t>
            </a: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оя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кто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ель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7" y="1147643"/>
            <a:ext cx="928737" cy="1278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4057927"/>
            <a:ext cx="998549" cy="1461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170" y="1183421"/>
            <a:ext cx="926679" cy="12065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442200"/>
            <a:ext cx="1963587" cy="1311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8909" y="4040712"/>
            <a:ext cx="1029792" cy="1495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7139" y="4053587"/>
            <a:ext cx="1006283" cy="1495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624498" y="162295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909281" y="1622955"/>
            <a:ext cx="61504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 </a:t>
            </a:r>
            <a:r>
              <a:rPr lang="ru-RU" sz="900" b="1" dirty="0" smtClean="0">
                <a:solidFill>
                  <a:prstClr val="white"/>
                </a:solidFill>
              </a:rPr>
              <a:t>5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104354" y="345795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7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050971" y="3457957"/>
            <a:ext cx="653134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10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919582" y="1582758"/>
            <a:ext cx="503238" cy="2750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19846" y="161550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720080"/>
          </a:xfrm>
        </p:spPr>
        <p:txBody>
          <a:bodyPr/>
          <a:lstStyle/>
          <a:p>
            <a:pPr eaLnBrk="1" hangingPunct="1">
              <a:tabLst>
                <a:tab pos="630238" algn="l"/>
              </a:tabLst>
            </a:pP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 самостоятельной деятельности старших дошкольников в групповых центрах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ости путем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я доски задач в ходе реализации технологии «План-дело-анализ»» </a:t>
            </a: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3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340341" y="2440964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5096657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95852" y="6423180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4-109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2258" y="346639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6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688282" y="5278868"/>
            <a:ext cx="538449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cs typeface="Arial" pitchFamily="34" charset="0"/>
              </a:rPr>
              <a:t>1.   Трудности </a:t>
            </a:r>
            <a:r>
              <a:rPr lang="ru-RU" sz="1200" dirty="0">
                <a:solidFill>
                  <a:prstClr val="black"/>
                </a:solidFill>
                <a:latin typeface="Times New Roman"/>
                <a:cs typeface="Arial" pitchFamily="34" charset="0"/>
              </a:rPr>
              <a:t>в 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cs typeface="Arial" pitchFamily="34" charset="0"/>
              </a:rPr>
              <a:t>определении </a:t>
            </a:r>
            <a:r>
              <a:rPr lang="ru-RU" sz="1200" dirty="0">
                <a:solidFill>
                  <a:prstClr val="black"/>
                </a:solidFill>
                <a:latin typeface="Times New Roman"/>
                <a:cs typeface="Arial" pitchFamily="34" charset="0"/>
              </a:rPr>
              <a:t>темы дня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2.   В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ea typeface="Times New Roman"/>
                <a:cs typeface="Arial" pitchFamily="34" charset="0"/>
              </a:rPr>
              <a:t>мешательство педагога </a:t>
            </a:r>
            <a:r>
              <a:rPr lang="ru-RU" sz="1200" dirty="0">
                <a:solidFill>
                  <a:prstClr val="black"/>
                </a:solidFill>
                <a:latin typeface="Times New Roman"/>
                <a:ea typeface="Times New Roman"/>
                <a:cs typeface="Arial" pitchFamily="34" charset="0"/>
              </a:rPr>
              <a:t>в самостоятельную работу 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ea typeface="Times New Roman"/>
                <a:cs typeface="Arial" pitchFamily="34" charset="0"/>
              </a:rPr>
              <a:t>детей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cs typeface="Arial" pitchFamily="34" charset="0"/>
              </a:rPr>
              <a:t>3.   Трудности детей в планировании собственной деятельности</a:t>
            </a:r>
            <a:endParaRPr lang="ru-RU" sz="1200" dirty="0">
              <a:solidFill>
                <a:prstClr val="black"/>
              </a:solidFill>
              <a:latin typeface="Times New Roman"/>
              <a:ea typeface="Calibri"/>
              <a:cs typeface="Arial" pitchFamily="34" charset="0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 startAt="4"/>
            </a:pPr>
            <a:r>
              <a:rPr lang="ru-RU" sz="1200" dirty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Недостаточно 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сформированы </a:t>
            </a:r>
            <a:r>
              <a:rPr lang="ru-RU" sz="1200" dirty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навыки самоопределения 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у  </a:t>
            </a: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детей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 startAt="5"/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Не все центры активности востребованы дошкольниками в равной степени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 startAt="6"/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ea typeface="Calibri"/>
                <a:cs typeface="Arial" pitchFamily="34" charset="0"/>
              </a:rPr>
              <a:t>Несформированность умений фиксировать результаты своей деятельност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547664" y="246386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16748" y="2009243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ХОД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8676134" y="3661497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ЫХОД</a:t>
            </a:r>
            <a:endParaRPr lang="ru-RU" b="1" dirty="0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269" y="4203267"/>
            <a:ext cx="526984" cy="32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6573" y="2316716"/>
            <a:ext cx="734238" cy="1047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9" y="3959908"/>
            <a:ext cx="698410" cy="1150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782406"/>
              </p:ext>
            </p:extLst>
          </p:nvPr>
        </p:nvGraphicFramePr>
        <p:xfrm>
          <a:off x="1954055" y="1849416"/>
          <a:ext cx="1406372" cy="142548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06372"/>
              </a:tblGrid>
              <a:tr h="219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451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суждение на детском совете  возможных вариантов идей для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пределение  темы дня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-10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945094"/>
              </p:ext>
            </p:extLst>
          </p:nvPr>
        </p:nvGraphicFramePr>
        <p:xfrm>
          <a:off x="3796713" y="1951984"/>
          <a:ext cx="1279343" cy="129924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9343"/>
              </a:tblGrid>
              <a:tr h="2107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862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а с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«моделью трех вопросов»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84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031544"/>
              </p:ext>
            </p:extLst>
          </p:nvPr>
        </p:nvGraphicFramePr>
        <p:xfrm>
          <a:off x="7099107" y="1960035"/>
          <a:ext cx="1277466" cy="131265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42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67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суждение оборудования и расходных материалов в центрах активнос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24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528337"/>
              </p:ext>
            </p:extLst>
          </p:nvPr>
        </p:nvGraphicFramePr>
        <p:xfrm>
          <a:off x="2260321" y="3818321"/>
          <a:ext cx="1293540" cy="1257104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93540"/>
              </a:tblGrid>
              <a:tr h="244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614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В</a:t>
                      </a:r>
                      <a:r>
                        <a:rPr lang="ru-RU" sz="900" b="1" dirty="0" smtClean="0">
                          <a:effectLst/>
                          <a:latin typeface="Times New Roman"/>
                          <a:ea typeface="Times New Roman"/>
                        </a:rPr>
                        <a:t>ыбор места работы и партнеров</a:t>
                      </a: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515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-7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96" name="Стрелка вправо 95"/>
          <p:cNvSpPr/>
          <p:nvPr/>
        </p:nvSpPr>
        <p:spPr>
          <a:xfrm>
            <a:off x="3553861" y="4217916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1887845" y="2861915"/>
            <a:ext cx="468922" cy="506411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1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0" name="Пятно 1 49"/>
          <p:cNvSpPr/>
          <p:nvPr/>
        </p:nvSpPr>
        <p:spPr>
          <a:xfrm>
            <a:off x="3779826" y="2970063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</a:p>
        </p:txBody>
      </p:sp>
      <p:graphicFrame>
        <p:nvGraphicFramePr>
          <p:cNvPr id="91" name="Таблица 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154824"/>
              </p:ext>
            </p:extLst>
          </p:nvPr>
        </p:nvGraphicFramePr>
        <p:xfrm>
          <a:off x="3906292" y="3826753"/>
          <a:ext cx="1394075" cy="12126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94075"/>
              </a:tblGrid>
              <a:tr h="2179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665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амостоятельная деятельность  в центрах активности </a:t>
                      </a:r>
                      <a:endParaRPr kumimoji="0" lang="ru-RU" sz="900" b="1" kern="1200" baseline="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75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-25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6" name="Пятно 1 35"/>
          <p:cNvSpPr/>
          <p:nvPr/>
        </p:nvSpPr>
        <p:spPr>
          <a:xfrm>
            <a:off x="3124432" y="4781957"/>
            <a:ext cx="500066" cy="506411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ru-RU" b="1" dirty="0">
              <a:solidFill>
                <a:prstClr val="white"/>
              </a:solidFill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146177"/>
              </p:ext>
            </p:extLst>
          </p:nvPr>
        </p:nvGraphicFramePr>
        <p:xfrm>
          <a:off x="367372" y="1928782"/>
          <a:ext cx="1219422" cy="134566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19422"/>
              </a:tblGrid>
              <a:tr h="2401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361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ситуации для выдвижения идей</a:t>
                      </a: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83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245946"/>
              </p:ext>
            </p:extLst>
          </p:nvPr>
        </p:nvGraphicFramePr>
        <p:xfrm>
          <a:off x="7377538" y="3799357"/>
          <a:ext cx="1277466" cy="126643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31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57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самостоятельной деятельности детей на итоговом сборе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15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202" y="4870467"/>
            <a:ext cx="476250" cy="42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055978"/>
              </p:ext>
            </p:extLst>
          </p:nvPr>
        </p:nvGraphicFramePr>
        <p:xfrm>
          <a:off x="745262" y="3790624"/>
          <a:ext cx="1162442" cy="125423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62442"/>
              </a:tblGrid>
              <a:tr h="2963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615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ланирование  действий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63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- 9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1" name="Стрелка вправо 40"/>
          <p:cNvSpPr/>
          <p:nvPr/>
        </p:nvSpPr>
        <p:spPr>
          <a:xfrm>
            <a:off x="1878068" y="4203267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495840" y="345795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9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55" name="Пятно 1 54"/>
          <p:cNvSpPr/>
          <p:nvPr/>
        </p:nvSpPr>
        <p:spPr>
          <a:xfrm>
            <a:off x="4870014" y="4769748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9213193"/>
              </p:ext>
            </p:extLst>
          </p:nvPr>
        </p:nvGraphicFramePr>
        <p:xfrm>
          <a:off x="5449088" y="1955334"/>
          <a:ext cx="1277466" cy="131265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42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67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иксирование   детских идей (печатными буквами или графически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24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12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8" name="Пятно 1 57"/>
          <p:cNvSpPr/>
          <p:nvPr/>
        </p:nvSpPr>
        <p:spPr>
          <a:xfrm>
            <a:off x="3876910" y="4769748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59" name="Стрелка вправо 58"/>
          <p:cNvSpPr/>
          <p:nvPr/>
        </p:nvSpPr>
        <p:spPr>
          <a:xfrm>
            <a:off x="6758836" y="2486207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272872" y="160276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4</a:t>
            </a:r>
          </a:p>
        </p:txBody>
      </p:sp>
      <p:sp>
        <p:nvSpPr>
          <p:cNvPr id="61" name="Пятно 1 60"/>
          <p:cNvSpPr/>
          <p:nvPr/>
        </p:nvSpPr>
        <p:spPr>
          <a:xfrm>
            <a:off x="1496890" y="4462289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3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080632"/>
              </p:ext>
            </p:extLst>
          </p:nvPr>
        </p:nvGraphicFramePr>
        <p:xfrm>
          <a:off x="5657585" y="3791037"/>
          <a:ext cx="1277466" cy="123929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860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57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иксирование результата деятельности в центрах активности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31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-10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4" name="Пятно 1 63"/>
          <p:cNvSpPr/>
          <p:nvPr/>
        </p:nvSpPr>
        <p:spPr>
          <a:xfrm>
            <a:off x="5561661" y="4912453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6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281" y="4177797"/>
            <a:ext cx="523875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282" y="3454483"/>
            <a:ext cx="5238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81220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2884204968"/>
              </p:ext>
            </p:extLst>
          </p:nvPr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ятно 1 10"/>
          <p:cNvSpPr/>
          <p:nvPr/>
        </p:nvSpPr>
        <p:spPr>
          <a:xfrm>
            <a:off x="1716569" y="5524737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43503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007461" y="1844824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7" name="Пятно 1 16"/>
          <p:cNvSpPr/>
          <p:nvPr/>
        </p:nvSpPr>
        <p:spPr>
          <a:xfrm>
            <a:off x="852473" y="5314561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2518027" y="5314561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Пятно 1 11"/>
          <p:cNvSpPr/>
          <p:nvPr/>
        </p:nvSpPr>
        <p:spPr>
          <a:xfrm>
            <a:off x="3086081" y="5594736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3688145" y="526890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64088" y="2917080"/>
            <a:ext cx="36004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Трудности </a:t>
            </a:r>
            <a:r>
              <a:rPr lang="ru-RU" sz="1200" b="1" dirty="0">
                <a:solidFill>
                  <a:prstClr val="black"/>
                </a:solidFill>
                <a:latin typeface="Times New Roman"/>
              </a:rPr>
              <a:t>в определении темы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дня</a:t>
            </a:r>
          </a:p>
          <a:p>
            <a:pPr lvl="0"/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В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Times New Roman"/>
              </a:rPr>
              <a:t>мешательство </a:t>
            </a:r>
            <a:r>
              <a:rPr lang="ru-RU" sz="1200" b="1" dirty="0">
                <a:solidFill>
                  <a:prstClr val="black"/>
                </a:solidFill>
                <a:latin typeface="Times New Roman"/>
                <a:ea typeface="Times New Roman"/>
              </a:rPr>
              <a:t>педагога в самостоятельную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Times New Roman"/>
              </a:rPr>
              <a:t>работу детей</a:t>
            </a:r>
          </a:p>
          <a:p>
            <a:pPr lvl="0"/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>
              <a:buAutoNum type="arabicPeriod" startAt="3"/>
            </a:pPr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Трудности </a:t>
            </a:r>
            <a:r>
              <a:rPr lang="ru-RU" sz="1200" b="1" dirty="0">
                <a:solidFill>
                  <a:prstClr val="black"/>
                </a:solidFill>
                <a:latin typeface="Times New Roman"/>
              </a:rPr>
              <a:t>детей в планировании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собственной</a:t>
            </a:r>
          </a:p>
          <a:p>
            <a:pPr lvl="0"/>
            <a:r>
              <a:rPr lang="ru-RU" sz="1200" b="1" dirty="0">
                <a:solidFill>
                  <a:prstClr val="black"/>
                </a:solidFill>
                <a:latin typeface="Times New Roman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      деятельности</a:t>
            </a:r>
          </a:p>
          <a:p>
            <a:pPr lvl="0"/>
            <a:endParaRPr lang="ru-RU" sz="1200" b="1" dirty="0">
              <a:solidFill>
                <a:prstClr val="black"/>
              </a:solidFill>
              <a:latin typeface="Times New Roman"/>
              <a:ea typeface="Calibri"/>
            </a:endParaRPr>
          </a:p>
          <a:p>
            <a:pPr marL="228600" lvl="0" indent="-228600">
              <a:buFontTx/>
              <a:buAutoNum type="arabicPeriod" startAt="4"/>
            </a:pPr>
            <a:r>
              <a:rPr lang="ru-RU" sz="1200" b="1" dirty="0">
                <a:solidFill>
                  <a:prstClr val="black"/>
                </a:solidFill>
                <a:latin typeface="Times New Roman"/>
                <a:ea typeface="Calibri"/>
              </a:rPr>
              <a:t>Недостаточно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сформированы </a:t>
            </a:r>
            <a:r>
              <a:rPr lang="ru-RU" sz="1200" b="1" dirty="0">
                <a:solidFill>
                  <a:prstClr val="black"/>
                </a:solidFill>
                <a:latin typeface="Times New Roman"/>
                <a:ea typeface="Calibri"/>
              </a:rPr>
              <a:t>навыки самоопределения  у 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детей</a:t>
            </a:r>
          </a:p>
          <a:p>
            <a:pPr lvl="0"/>
            <a:endParaRPr lang="ru-RU" sz="1200" b="1" dirty="0">
              <a:solidFill>
                <a:prstClr val="black"/>
              </a:solidFill>
              <a:latin typeface="Times New Roman"/>
              <a:ea typeface="Calibri"/>
            </a:endParaRPr>
          </a:p>
          <a:p>
            <a:pPr marL="228600" lvl="0" indent="-228600">
              <a:buFontTx/>
              <a:buAutoNum type="arabicPeriod" startAt="5"/>
            </a:pPr>
            <a:r>
              <a:rPr lang="ru-RU" sz="1200" b="1" dirty="0">
                <a:solidFill>
                  <a:prstClr val="black"/>
                </a:solidFill>
                <a:latin typeface="Times New Roman"/>
                <a:ea typeface="Calibri"/>
              </a:rPr>
              <a:t>Не все центры активности востребованы дошкольниками в равной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степени</a:t>
            </a:r>
          </a:p>
          <a:p>
            <a:pPr lvl="0"/>
            <a:endParaRPr lang="ru-RU" sz="1200" b="1" dirty="0">
              <a:solidFill>
                <a:prstClr val="black"/>
              </a:solidFill>
              <a:latin typeface="Times New Roman"/>
              <a:ea typeface="Calibri"/>
            </a:endParaRPr>
          </a:p>
          <a:p>
            <a:pPr marL="228600" lvl="0" indent="-228600">
              <a:buFontTx/>
              <a:buAutoNum type="arabicPeriod" startAt="6"/>
            </a:pPr>
            <a:r>
              <a:rPr lang="ru-RU" sz="1200" b="1" dirty="0">
                <a:solidFill>
                  <a:prstClr val="black"/>
                </a:solidFill>
                <a:latin typeface="Times New Roman"/>
                <a:ea typeface="Calibri"/>
              </a:rPr>
              <a:t>Несформированность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у детей умений </a:t>
            </a:r>
            <a:r>
              <a:rPr lang="ru-RU" sz="1200" b="1" dirty="0">
                <a:solidFill>
                  <a:prstClr val="black"/>
                </a:solidFill>
                <a:latin typeface="Times New Roman"/>
                <a:ea typeface="Calibri"/>
              </a:rPr>
              <a:t>фиксировать результаты своей </a:t>
            </a: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деятельности</a:t>
            </a:r>
            <a:endParaRPr lang="ru-RU" b="1" dirty="0"/>
          </a:p>
        </p:txBody>
      </p:sp>
      <p:sp>
        <p:nvSpPr>
          <p:cNvPr id="20" name="Пятно 1 19"/>
          <p:cNvSpPr/>
          <p:nvPr/>
        </p:nvSpPr>
        <p:spPr>
          <a:xfrm>
            <a:off x="4421816" y="5568896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  <a:endParaRPr lang="ru-RU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314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08720"/>
            <a:ext cx="7931224" cy="5217444"/>
          </a:xfrm>
        </p:spPr>
        <p:txBody>
          <a:bodyPr/>
          <a:lstStyle/>
          <a:p>
            <a:pPr marL="0" lvl="0" indent="0" algn="ctr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8496944" cy="7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678592"/>
              </p:ext>
            </p:extLst>
          </p:nvPr>
        </p:nvGraphicFramePr>
        <p:xfrm>
          <a:off x="107503" y="1052737"/>
          <a:ext cx="8856986" cy="4906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8447"/>
                <a:gridCol w="3832314"/>
                <a:gridCol w="2016225"/>
              </a:tblGrid>
              <a:tr h="50405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 </a:t>
                      </a:r>
                      <a:endParaRPr lang="ru-RU" sz="14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мин.,  %)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6525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. </a:t>
                      </a:r>
                      <a:r>
                        <a:rPr lang="ru-RU" sz="1200" dirty="0" smtClean="0">
                          <a:solidFill>
                            <a:prstClr val="black"/>
                          </a:solidFill>
                          <a:latin typeface="Times New Roman"/>
                        </a:rPr>
                        <a:t>Трудности в определении темы дня на детском совете  при реализации технологии    «План-дело-анализ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изуальных карточек-подсказок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endParaRPr lang="ru-RU" sz="1200" baseline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 мин.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66595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Arial" pitchFamily="34" charset="0"/>
                        </a:rPr>
                        <a:t>В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Arial" pitchFamily="34" charset="0"/>
                        </a:rPr>
                        <a:t>мешательство педагога в самостоятельную работу детей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суждение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заседании МО ДОО 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проса о  формах взаимодействия педагогов с детьми в ходе реализации технологии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«План-дело-анализ»</a:t>
                      </a:r>
                    </a:p>
                  </a:txBody>
                  <a:tcPr marL="68580" marR="68580" marT="9525" marB="0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-6 мин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37766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оведение тематического мастер-класса для педагогов ДОО, разъясняющего роль педагога (в качестве модератора, ассистента или помощника)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8203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ности детей в планировании собственной деятельности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Обучение детей планирующей деятельности в деловой игре «Я выбираю» через внедрение доски задач</a:t>
                      </a:r>
                      <a:endParaRPr lang="ru-RU" sz="1200" baseline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-5 мин.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29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</a:rPr>
                        <a:t>Не все центры активности востребованы дошкольниками в равной степени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Дооснащение непопулярных центров активности разнообразными материалами для повышения  привлекательности этих центров с учетом темы недели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%-40%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329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Несформированность умений фиксировать результаты своей деятельности</a:t>
                      </a:r>
                      <a:endParaRPr lang="ru-RU" sz="1200" dirty="0" smtClean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пользование детьми доски задач для развития умений фиксировать результаты своей деятельности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-40%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042600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876911" y="161549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720760" y="159837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516196" y="378010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130464" y="3799766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073479" y="1598379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5349" y="1701504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720080"/>
          </a:xfrm>
        </p:spPr>
        <p:txBody>
          <a:bodyPr/>
          <a:lstStyle/>
          <a:p>
            <a:pPr eaLnBrk="1" hangingPunct="1">
              <a:tabLst>
                <a:tab pos="630238" algn="l"/>
              </a:tabLst>
            </a:pPr>
            <a:r>
              <a:rPr lang="ru-RU" sz="1400" b="1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</a:t>
            </a:r>
            <a:r>
              <a:rPr lang="ru-RU" sz="1400" b="1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ево</a:t>
            </a:r>
            <a:r>
              <a:rPr lang="ru-RU" sz="1400" b="1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 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я процесс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 самостоятельной деятельности старших дошкольников в групповых центрах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ости путем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я доски задач в ходе реализации технологии «План-дело-анализ»» </a:t>
            </a: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</a:t>
            </a:r>
            <a:r>
              <a:rPr lang="ru-RU" sz="14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</a:t>
            </a:r>
            <a:r>
              <a:rPr lang="ru-RU" sz="1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ДЕТ»)</a:t>
            </a:r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614979" y="2439378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462383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822309" y="6146181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8-82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99267" y="376908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61388" y="6448282"/>
            <a:ext cx="317524" cy="332656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 flipH="1" flipV="1">
            <a:off x="8097786" y="5472750"/>
            <a:ext cx="45719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839140" y="2450186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19846" y="2123561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7287036" y="4044341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949" y="2599540"/>
            <a:ext cx="734238" cy="1047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99" y="4356494"/>
            <a:ext cx="698410" cy="1150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689892"/>
              </p:ext>
            </p:extLst>
          </p:nvPr>
        </p:nvGraphicFramePr>
        <p:xfrm>
          <a:off x="2245531" y="1988841"/>
          <a:ext cx="1462373" cy="132792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62373"/>
              </a:tblGrid>
              <a:tr h="2050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970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суждение на детском совете  возможных вариантов идей для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пределение  темы дня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20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246905"/>
              </p:ext>
            </p:extLst>
          </p:nvPr>
        </p:nvGraphicFramePr>
        <p:xfrm>
          <a:off x="4070222" y="1992915"/>
          <a:ext cx="1425733" cy="129206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5733"/>
              </a:tblGrid>
              <a:tr h="24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8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а с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«моделью трех вопросов»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07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968346"/>
              </p:ext>
            </p:extLst>
          </p:nvPr>
        </p:nvGraphicFramePr>
        <p:xfrm>
          <a:off x="5814814" y="1958742"/>
          <a:ext cx="1362700" cy="1319689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62700"/>
              </a:tblGrid>
              <a:tr h="2461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615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суждение оборудования и расходных материалов в центрах активности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63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3135862"/>
              </p:ext>
            </p:extLst>
          </p:nvPr>
        </p:nvGraphicFramePr>
        <p:xfrm>
          <a:off x="2678533" y="4122180"/>
          <a:ext cx="1257930" cy="139629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57930"/>
              </a:tblGrid>
              <a:tr h="2988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44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/>
                          <a:ea typeface="+mn-ea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900" b="1" dirty="0" smtClean="0">
                          <a:effectLst/>
                          <a:latin typeface="Times New Roman"/>
                          <a:ea typeface="Times New Roman"/>
                        </a:rPr>
                        <a:t>ыбор места работы и партнеров</a:t>
                      </a:r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529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96" name="Стрелка вправо 95"/>
          <p:cNvSpPr/>
          <p:nvPr/>
        </p:nvSpPr>
        <p:spPr>
          <a:xfrm>
            <a:off x="5620741" y="4565955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91" name="Таблица 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200319"/>
              </p:ext>
            </p:extLst>
          </p:nvPr>
        </p:nvGraphicFramePr>
        <p:xfrm>
          <a:off x="4336485" y="4140472"/>
          <a:ext cx="1253388" cy="136617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53388"/>
              </a:tblGrid>
              <a:tr h="2575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50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амостоятельная деятельность  в центрах активности </a:t>
                      </a:r>
                      <a:endParaRPr kumimoji="0" lang="ru-RU" sz="900" b="1" kern="1200" baseline="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577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- 40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23981"/>
              </p:ext>
            </p:extLst>
          </p:nvPr>
        </p:nvGraphicFramePr>
        <p:xfrm>
          <a:off x="477761" y="1988714"/>
          <a:ext cx="1343791" cy="1333127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43791"/>
              </a:tblGrid>
              <a:tr h="2843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88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ситуации для выдвижения идей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6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0764018"/>
              </p:ext>
            </p:extLst>
          </p:nvPr>
        </p:nvGraphicFramePr>
        <p:xfrm>
          <a:off x="6004004" y="4165759"/>
          <a:ext cx="1277466" cy="139422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713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57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самостоятельной деятельности детей на итоговом сборе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456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-10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483426"/>
              </p:ext>
            </p:extLst>
          </p:nvPr>
        </p:nvGraphicFramePr>
        <p:xfrm>
          <a:off x="1047632" y="4096876"/>
          <a:ext cx="1277466" cy="145845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822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, де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40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спользование доски задач для планирования деятельности в центрах активност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989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1" name="Стрелка вправо 40"/>
          <p:cNvSpPr/>
          <p:nvPr/>
        </p:nvSpPr>
        <p:spPr>
          <a:xfrm>
            <a:off x="2325097" y="458355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3953107" y="4586111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5796956" y="3805070"/>
            <a:ext cx="575244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8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19037860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6847" y="1030486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491914" y="1040239"/>
            <a:ext cx="154341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493638" y="3258730"/>
            <a:ext cx="2098675" cy="19389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ишнее вмешательство педагога в самостоятельную деятельность детей 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defRPr/>
            </a:pP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руднения у детей в определении темы дня.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129037" y="3284984"/>
            <a:ext cx="237906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ям возможность в любой момент включать в самостоятельную деятельность в центрах активности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255279" y="3284984"/>
            <a:ext cx="261718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ормировали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ыки самоопределения у детей, умение планировать самостоятельную деятельность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нимание ответственности за свой выбор, действия и результаты.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809999" y="1844824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384535" y="1761400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292" name="Picture 14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380758"/>
            <a:ext cx="1440160" cy="1814476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99" name="Picture 15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7" y="1423523"/>
            <a:ext cx="1368152" cy="1771712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01" name="Picture 15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28" y="1423523"/>
            <a:ext cx="1356705" cy="1771711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n>
                <a:solidFill>
                  <a:srgbClr val="0070C0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467544" y="12891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42878" y="1677747"/>
            <a:ext cx="155785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ы визуальные карточки-подсказки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680641" y="15314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188605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835696" y="4099063"/>
            <a:ext cx="19068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205585" y="400304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 flipH="1">
            <a:off x="2051719" y="4509120"/>
            <a:ext cx="16908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шательство педагога в самостоятельную деятельность детей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704441" y="4285841"/>
            <a:ext cx="1896291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суждение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заседании МО ДОО вопроса о формах взаимодействия педагогов с детьми в ходе реализации технологии «План-дело-анализ». </a:t>
            </a:r>
          </a:p>
          <a:p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96622" y="1816716"/>
            <a:ext cx="219647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сти в определении темы дня на детском совете при реализации технологии «План-дело-анализ»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4319502" y="2156753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3971753" y="4785596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25" name="Picture 15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64" y="1769031"/>
            <a:ext cx="1689100" cy="1456968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27" name="Picture 15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1769031"/>
            <a:ext cx="1685472" cy="1456968"/>
          </a:xfrm>
          <a:prstGeom prst="rect">
            <a:avLst/>
          </a:prstGeom>
          <a:noFill/>
          <a:ln w="1270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30" name="Picture 16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41" y="4145485"/>
            <a:ext cx="1462578" cy="1947812"/>
          </a:xfrm>
          <a:prstGeom prst="rect">
            <a:avLst/>
          </a:prstGeom>
          <a:noFill/>
          <a:ln w="1270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53" name="Picture 185" descr="C:\Users\elena\Downloads\IMG-f19af43d5c9a2d5322d5d482036f3e43-V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7190" y="4237563"/>
            <a:ext cx="1542529" cy="1855734"/>
          </a:xfrm>
          <a:prstGeom prst="rect">
            <a:avLst/>
          </a:prstGeom>
          <a:noFill/>
          <a:ln w="19050"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n>
                <a:solidFill>
                  <a:srgbClr val="0070C0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467544" y="12891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42878" y="1677747"/>
            <a:ext cx="1557854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тематического мастер-класса для педагогов ДОО, разъясняющего роль педагога (в качестве модератора, ассистента или помощника)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680641" y="15314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188605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835696" y="4099063"/>
            <a:ext cx="19068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205585" y="400304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 flipH="1">
            <a:off x="2051719" y="4509120"/>
            <a:ext cx="16908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сти детей в планировании собственной деятельности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704441" y="4285841"/>
            <a:ext cx="1896291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детей планированию деятельности в деловой игре «Я выбираю» через внедрение доски задач. 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96622" y="1816716"/>
            <a:ext cx="219647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мешательство педагога в самостоятельную работу детей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4319502" y="2156753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3971753" y="4785596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31" y="1669570"/>
            <a:ext cx="1509388" cy="1831437"/>
          </a:xfrm>
          <a:prstGeom prst="rect">
            <a:avLst/>
          </a:prstGeom>
          <a:noFill/>
          <a:ln w="9525">
            <a:solidFill>
              <a:srgbClr val="FF3737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48263" y="4145485"/>
            <a:ext cx="1460859" cy="194781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629665"/>
            <a:ext cx="1532865" cy="1871341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7" name="Picture 11" descr="F:\БП!!!!!\!!!БП 2 ТЕРНОВКА  ПЛАН-ДЕЛО-АНАЛИЗ\04-06-2020_11-11-50\IMG-3096865d40d9c6c331b9e76a34d20adf-V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05" y="4376062"/>
            <a:ext cx="1406191" cy="1240686"/>
          </a:xfrm>
          <a:prstGeom prst="rect">
            <a:avLst/>
          </a:prstGeom>
          <a:noFill/>
          <a:ln w="12700">
            <a:solidFill>
              <a:srgbClr val="E6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034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0</TotalTime>
  <Words>1166</Words>
  <Application>Microsoft Office PowerPoint</Application>
  <PresentationFormat>Экран (4:3)</PresentationFormat>
  <Paragraphs>304</Paragraphs>
  <Slides>1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6" baseType="lpstr">
      <vt:lpstr>Тема Office</vt:lpstr>
      <vt:lpstr>1_Тема Office</vt:lpstr>
      <vt:lpstr>2_Тема Office</vt:lpstr>
      <vt:lpstr>think-cell Slide</vt:lpstr>
      <vt:lpstr>Паспорт проекта  «Оптимизация самостоятельной деятельности старших дошкольников в групповых центрах активности путем внедрения доски задач в ходе реализации технологии «План-дело-анализ»»</vt:lpstr>
      <vt:lpstr>Команда проекта </vt:lpstr>
      <vt:lpstr>Карта текущего состояния процесса «Оптимизация  самостоятельной деятельности старших дошкольников в групповых центрах активности путем внедрения доски задач в ходе реализации технологии «План-дело-анализ»» </vt:lpstr>
      <vt:lpstr>Пирамида проблем</vt:lpstr>
      <vt:lpstr>Презентация PowerPoint</vt:lpstr>
      <vt:lpstr>Карта целевого состояния процесса «Оптимизация  самостоятельной деятельности старших дошкольников в групповых центрах активности путем внедрения доски задач в ходе реализации технологии «План-дело-анализ»»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188</cp:revision>
  <cp:lastPrinted>2019-10-25T10:22:43Z</cp:lastPrinted>
  <dcterms:created xsi:type="dcterms:W3CDTF">2018-08-20T14:01:12Z</dcterms:created>
  <dcterms:modified xsi:type="dcterms:W3CDTF">2020-06-25T19:46:04Z</dcterms:modified>
</cp:coreProperties>
</file>